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2.xml" ContentType="application/vnd.openxmlformats-officedocument.drawingml.chart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81" r:id="rId3"/>
    <p:sldId id="278" r:id="rId4"/>
    <p:sldId id="274" r:id="rId5"/>
    <p:sldId id="287" r:id="rId6"/>
    <p:sldId id="285" r:id="rId7"/>
    <p:sldId id="284" r:id="rId8"/>
    <p:sldId id="257" r:id="rId9"/>
    <p:sldId id="286" r:id="rId10"/>
  </p:sldIdLst>
  <p:sldSz cx="10688638" cy="7562850"/>
  <p:notesSz cx="6858000" cy="9144000"/>
  <p:custDataLst>
    <p:tags r:id="rId11"/>
  </p:custDataLst>
  <p:defaultTextStyle>
    <a:defPPr>
      <a:defRPr lang="en-US"/>
    </a:defPPr>
    <a:lvl1pPr marL="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36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2D"/>
    <a:srgbClr val="EFF3EA"/>
    <a:srgbClr val="DEE7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Estilo Claro 2 - Ênfase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Estilo Claro 1 - Ênfase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9237" autoAdjust="0"/>
  </p:normalViewPr>
  <p:slideViewPr>
    <p:cSldViewPr snapToGrid="0" snapToObjects="1">
      <p:cViewPr varScale="1">
        <p:scale>
          <a:sx n="85" d="100"/>
          <a:sy n="85" d="100"/>
        </p:scale>
        <p:origin x="744" y="96"/>
      </p:cViewPr>
      <p:guideLst>
        <p:guide orient="horz" pos="2382"/>
        <p:guide pos="336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2348487148129264"/>
          <c:y val="0.22334837472516617"/>
          <c:w val="0.72702130606870408"/>
          <c:h val="0.62601070399546277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2014 (jan-dez)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3.0966251772392851E-2"/>
                  <c:y val="1.521747952450698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2.5480277606137362E-2"/>
                  <c:y val="-6.531933360038623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2.1869187679865773E-2"/>
                  <c:y val="-7.060466931665279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11686399696183461"/>
                  <c:y val="-6.506101130866175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.11470770887776202"/>
                  <c:y val="-6.5640831831452778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4.8903598921683479E-2"/>
                  <c:y val="-7.3107834660784535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6.428842274343026E-2"/>
                  <c:y val="-0.13125574745126314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1.6648599256963843E-2"/>
                  <c:y val="-9.262956524572868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6.160686585578546E-2"/>
                  <c:y val="-0.1103856889863812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4967772783157976"/>
                  <c:y val="-4.400396351367728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0.11341548473908414"/>
                  <c:y val="-4.926514093794332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0.12386637079675476"/>
                  <c:y val="6.952239252838973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Eras Demi ITC" panose="020B08050305040208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lan1!$A$2:$A$5</c:f>
              <c:strCache>
                <c:ptCount val="4"/>
                <c:pt idx="0">
                  <c:v>GLOBO</c:v>
                </c:pt>
                <c:pt idx="1">
                  <c:v>SBT</c:v>
                </c:pt>
                <c:pt idx="2">
                  <c:v>BAND TV</c:v>
                </c:pt>
                <c:pt idx="3">
                  <c:v>RECORD</c:v>
                </c:pt>
              </c:strCache>
            </c:strRef>
          </c:cat>
          <c:val>
            <c:numRef>
              <c:f>Plan1!$B$2:$B$5</c:f>
              <c:numCache>
                <c:formatCode>_-[$R$-416]\ * #,##0.0_-;\-[$R$-416]\ * #,##0.0_-;_-[$R$-416]\ * "-"??_-;_-@_-</c:formatCode>
                <c:ptCount val="4"/>
                <c:pt idx="0">
                  <c:v>86.619606839832173</c:v>
                </c:pt>
                <c:pt idx="1">
                  <c:v>24.680710517448375</c:v>
                </c:pt>
                <c:pt idx="2">
                  <c:v>4.6803635914081365</c:v>
                </c:pt>
                <c:pt idx="3">
                  <c:v>3.28310549336672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997288217357625E-2"/>
          <c:y val="7.7004778968787812E-3"/>
          <c:w val="0.97831316566925741"/>
          <c:h val="0.786224369496031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hare de Investimento</c:v>
                </c:pt>
              </c:strCache>
            </c:strRef>
          </c:tx>
          <c:spPr>
            <a:solidFill>
              <a:srgbClr val="00642D"/>
            </a:solidFill>
          </c:spPr>
          <c:invertIfNegative val="0"/>
          <c:dLbls>
            <c:dLbl>
              <c:idx val="0"/>
              <c:layout>
                <c:manualLayout>
                  <c:x val="5.6310725242235881E-3"/>
                  <c:y val="1.0276837924865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0">
                      <a:solidFill>
                        <a:schemeClr val="bg1"/>
                      </a:solidFill>
                      <a:latin typeface="Eras Demi ITC" panose="020B0805030504020804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1.4077681310560003E-3"/>
                  <c:y val="9.385920214302508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0">
                      <a:solidFill>
                        <a:schemeClr val="bg1"/>
                      </a:solidFill>
                      <a:latin typeface="Eras Demi ITC" panose="020B0805030504020804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0">
                    <a:solidFill>
                      <a:schemeClr val="tx1"/>
                    </a:solidFill>
                    <a:latin typeface="Eras Demi ITC" panose="020B0805030504020804" pitchFamily="34" charset="0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A$2:$A$5</c:f>
              <c:strCache>
                <c:ptCount val="4"/>
                <c:pt idx="0">
                  <c:v>BAND TV</c:v>
                </c:pt>
                <c:pt idx="1">
                  <c:v>GLOBO</c:v>
                </c:pt>
                <c:pt idx="2">
                  <c:v>RECORD</c:v>
                </c:pt>
                <c:pt idx="3">
                  <c:v>SBT</c:v>
                </c:pt>
              </c:strCache>
            </c:strRef>
          </c:cat>
          <c:val>
            <c:numRef>
              <c:f>Plan1!$B$2:$B$5</c:f>
              <c:numCache>
                <c:formatCode>0.0%</c:formatCode>
                <c:ptCount val="4"/>
                <c:pt idx="0">
                  <c:v>3.9243795044878127E-2</c:v>
                </c:pt>
                <c:pt idx="1">
                  <c:v>0.72628590307181395</c:v>
                </c:pt>
                <c:pt idx="2">
                  <c:v>2.7528100451194616E-2</c:v>
                </c:pt>
                <c:pt idx="3">
                  <c:v>0.20694220143211334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Share de Audiência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0"/>
              <c:layout>
                <c:manualLayout>
                  <c:x val="9.854376917391253E-3"/>
                  <c:y val="6.5023106481134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0">
                      <a:solidFill>
                        <a:schemeClr val="bg1"/>
                      </a:solidFill>
                      <a:latin typeface="Eras Demi ITC" panose="020B0805030504020804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0">
                    <a:solidFill>
                      <a:schemeClr val="tx1"/>
                    </a:solidFill>
                    <a:latin typeface="Eras Demi ITC" panose="020B0805030504020804" pitchFamily="34" charset="0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Plan1!$A$2:$A$5</c:f>
              <c:strCache>
                <c:ptCount val="4"/>
                <c:pt idx="0">
                  <c:v>BAND TV</c:v>
                </c:pt>
                <c:pt idx="1">
                  <c:v>GLOBO</c:v>
                </c:pt>
                <c:pt idx="2">
                  <c:v>RECORD</c:v>
                </c:pt>
                <c:pt idx="3">
                  <c:v>SBT</c:v>
                </c:pt>
              </c:strCache>
            </c:strRef>
          </c:cat>
          <c:val>
            <c:numRef>
              <c:f>Plan1!$C$2:$C$5</c:f>
              <c:numCache>
                <c:formatCode>0.0%</c:formatCode>
                <c:ptCount val="4"/>
                <c:pt idx="0">
                  <c:v>4.5374999999999999E-2</c:v>
                </c:pt>
                <c:pt idx="1">
                  <c:v>0.35164099999999998</c:v>
                </c:pt>
                <c:pt idx="2">
                  <c:v>9.6656000000000006E-2</c:v>
                </c:pt>
                <c:pt idx="3">
                  <c:v>0.1282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"/>
        <c:axId val="324748416"/>
        <c:axId val="324748976"/>
      </c:barChart>
      <c:scatterChart>
        <c:scatterStyle val="lineMarker"/>
        <c:varyColors val="0"/>
        <c:ser>
          <c:idx val="2"/>
          <c:order val="2"/>
          <c:tx>
            <c:strRef>
              <c:f>Plan1!$D$1</c:f>
              <c:strCache>
                <c:ptCount val="1"/>
                <c:pt idx="0">
                  <c:v>Índice</c:v>
                </c:pt>
              </c:strCache>
            </c:strRef>
          </c:tx>
          <c:spPr>
            <a:ln w="28575">
              <a:noFill/>
            </a:ln>
          </c:spPr>
          <c:marker>
            <c:symbol val="circle"/>
            <c:size val="17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1"/>
              <c:layout>
                <c:manualLayout>
                  <c:x val="-1.8405995710713153E-2"/>
                  <c:y val="-5.76694601469383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0">
                    <a:solidFill>
                      <a:schemeClr val="tx1"/>
                    </a:solidFill>
                    <a:latin typeface="Eras Demi ITC" panose="020B0805030504020804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strRef>
              <c:f>Plan1!$A$2:$A$5</c:f>
              <c:strCache>
                <c:ptCount val="4"/>
                <c:pt idx="0">
                  <c:v>BAND TV</c:v>
                </c:pt>
                <c:pt idx="1">
                  <c:v>GLOBO</c:v>
                </c:pt>
                <c:pt idx="2">
                  <c:v>RECORD</c:v>
                </c:pt>
                <c:pt idx="3">
                  <c:v>SBT</c:v>
                </c:pt>
              </c:strCache>
            </c:strRef>
          </c:xVal>
          <c:yVal>
            <c:numRef>
              <c:f>Plan1!$D$2:$D$5</c:f>
              <c:numCache>
                <c:formatCode>0</c:formatCode>
                <c:ptCount val="4"/>
                <c:pt idx="0">
                  <c:v>86.487702578243812</c:v>
                </c:pt>
                <c:pt idx="1">
                  <c:v>206.54187170205236</c:v>
                </c:pt>
                <c:pt idx="2">
                  <c:v>28.480487968873753</c:v>
                </c:pt>
                <c:pt idx="3">
                  <c:v>161.39241901383787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4750096"/>
        <c:axId val="324749536"/>
      </c:scatterChart>
      <c:catAx>
        <c:axId val="3247484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 b="0">
                <a:latin typeface="Eras Demi ITC" panose="020B0805030504020804" pitchFamily="34" charset="0"/>
              </a:defRPr>
            </a:pPr>
            <a:endParaRPr lang="pt-BR"/>
          </a:p>
        </c:txPr>
        <c:crossAx val="324748976"/>
        <c:crosses val="autoZero"/>
        <c:auto val="1"/>
        <c:lblAlgn val="ctr"/>
        <c:lblOffset val="100"/>
        <c:noMultiLvlLbl val="0"/>
      </c:catAx>
      <c:valAx>
        <c:axId val="324748976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nextTo"/>
        <c:spPr>
          <a:solidFill>
            <a:schemeClr val="bg1"/>
          </a:solidFill>
          <a:ln>
            <a:solidFill>
              <a:schemeClr val="bg1"/>
            </a:solidFill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324748416"/>
        <c:crosses val="autoZero"/>
        <c:crossBetween val="between"/>
      </c:valAx>
      <c:valAx>
        <c:axId val="324749536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324750096"/>
        <c:crosses val="max"/>
        <c:crossBetween val="midCat"/>
      </c:valAx>
      <c:valAx>
        <c:axId val="324750096"/>
        <c:scaling>
          <c:orientation val="minMax"/>
        </c:scaling>
        <c:delete val="1"/>
        <c:axPos val="b"/>
        <c:majorTickMark val="out"/>
        <c:minorTickMark val="none"/>
        <c:tickLblPos val="nextTo"/>
        <c:crossAx val="324749536"/>
        <c:crosses val="autoZero"/>
        <c:crossBetween val="midCat"/>
      </c:valAx>
    </c:plotArea>
    <c:legend>
      <c:legendPos val="b"/>
      <c:layout>
        <c:manualLayout>
          <c:xMode val="edge"/>
          <c:yMode val="edge"/>
          <c:x val="0.12267524274578191"/>
          <c:y val="0.91960429955767564"/>
          <c:w val="0.75327019804667261"/>
          <c:h val="7.8521905051894741E-2"/>
        </c:manualLayout>
      </c:layout>
      <c:overlay val="0"/>
      <c:txPr>
        <a:bodyPr/>
        <a:lstStyle/>
        <a:p>
          <a:pPr>
            <a:defRPr sz="1800" b="0">
              <a:latin typeface="Eras Medium ITC" panose="020B0602030504020804" pitchFamily="34" charset="0"/>
            </a:defRPr>
          </a:pPr>
          <a:endParaRPr lang="pt-BR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pt-B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2348487148129264"/>
          <c:y val="0.22334837472516617"/>
          <c:w val="0.72702130606870408"/>
          <c:h val="0.62601070399546277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TRP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3.0966251772392851E-2"/>
                  <c:y val="1.521747952450698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2.5480277606137362E-2"/>
                  <c:y val="-6.531933360038623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2.1869187679865773E-2"/>
                  <c:y val="-7.060466931665279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.11686399696183461"/>
                  <c:y val="-6.506101130866175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0.11470770887776202"/>
                  <c:y val="-6.5640831831452778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4.8903598921683479E-2"/>
                  <c:y val="-7.3107834660784535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6.428842274343026E-2"/>
                  <c:y val="-0.13125574745126314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1.6648599256963843E-2"/>
                  <c:y val="-9.262956524572868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6.160686585578546E-2"/>
                  <c:y val="-0.1103856889863812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4967772783157976"/>
                  <c:y val="-4.400396351367728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0.11341548473908414"/>
                  <c:y val="-4.926514093794332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0.12386637079675476"/>
                  <c:y val="6.952239252838973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Eras Demi ITC" panose="020B08050305040208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lan1!$A$2:$A$5</c:f>
              <c:strCache>
                <c:ptCount val="4"/>
                <c:pt idx="0">
                  <c:v>GLOBO</c:v>
                </c:pt>
                <c:pt idx="1">
                  <c:v>SBT</c:v>
                </c:pt>
                <c:pt idx="2">
                  <c:v>BAND TV</c:v>
                </c:pt>
                <c:pt idx="3">
                  <c:v>RECORD</c:v>
                </c:pt>
              </c:strCache>
            </c:strRef>
          </c:cat>
          <c:val>
            <c:numRef>
              <c:f>Plan1!$B$2:$B$5</c:f>
              <c:numCache>
                <c:formatCode>#,##0</c:formatCode>
                <c:ptCount val="4"/>
                <c:pt idx="0">
                  <c:v>4333.6181000000006</c:v>
                </c:pt>
                <c:pt idx="1">
                  <c:v>2958.7313000000004</c:v>
                </c:pt>
                <c:pt idx="2">
                  <c:v>562.33659999999998</c:v>
                </c:pt>
                <c:pt idx="3">
                  <c:v>297.0448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48" y="2349386"/>
            <a:ext cx="9085342" cy="162111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296" y="4285615"/>
            <a:ext cx="7482047" cy="19327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844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872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59363" y="334377"/>
            <a:ext cx="2809479" cy="7116431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361" y="334377"/>
            <a:ext cx="8255859" cy="7116431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5924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329" y="4859832"/>
            <a:ext cx="9085342" cy="150206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329" y="3205459"/>
            <a:ext cx="9085342" cy="1654373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34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361" y="1946734"/>
            <a:ext cx="5531741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5245" y="1946734"/>
            <a:ext cx="5533597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226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</p:spPr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692889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432" y="2398404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29680" y="1692889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29680" y="2398404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95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822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046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3" y="301113"/>
            <a:ext cx="3516488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8960" y="301114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433" y="1582597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42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048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048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437" indent="0">
              <a:buNone/>
              <a:defRPr sz="3200"/>
            </a:lvl2pPr>
            <a:lvl3pPr marL="1042873" indent="0">
              <a:buNone/>
              <a:defRPr sz="2700"/>
            </a:lvl3pPr>
            <a:lvl4pPr marL="1564310" indent="0">
              <a:buNone/>
              <a:defRPr sz="2300"/>
            </a:lvl4pPr>
            <a:lvl5pPr marL="2085746" indent="0">
              <a:buNone/>
              <a:defRPr sz="2300"/>
            </a:lvl5pPr>
            <a:lvl6pPr marL="2607183" indent="0">
              <a:buNone/>
              <a:defRPr sz="2300"/>
            </a:lvl6pPr>
            <a:lvl7pPr marL="3128620" indent="0">
              <a:buNone/>
              <a:defRPr sz="2300"/>
            </a:lvl7pPr>
            <a:lvl8pPr marL="3650056" indent="0">
              <a:buNone/>
              <a:defRPr sz="2300"/>
            </a:lvl8pPr>
            <a:lvl9pPr marL="4171493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048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780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0607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" name="Slide do think-cell" r:id="rId15" imgW="270" imgH="270" progId="TCLayout.ActiveDocument.1">
                  <p:embed/>
                </p:oleObj>
              </mc:Choice>
              <mc:Fallback>
                <p:oleObj name="Slide do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764666"/>
            <a:ext cx="9619774" cy="4991131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432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43F105-2278-3846-BF6D-56A38DBB0301}" type="datetimeFigureOut">
              <a:rPr lang="en-US" smtClean="0"/>
              <a:t>3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1952" y="7009642"/>
            <a:ext cx="3384735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6" descr="OLHO BAND copy.png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850" y="198438"/>
            <a:ext cx="893763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29"/>
            <a:ext cx="10688638" cy="7556392"/>
          </a:xfrm>
          <a:prstGeom prst="rect">
            <a:avLst/>
          </a:prstGeom>
        </p:spPr>
      </p:pic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31512" y="7123942"/>
            <a:ext cx="4239274" cy="40265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err="1" smtClean="0">
                <a:latin typeface="Eras Demi ITC" panose="020B0805030504020804" pitchFamily="34" charset="0"/>
              </a:rPr>
              <a:t>Inteligência</a:t>
            </a:r>
            <a:r>
              <a:rPr lang="en-US" sz="1400" dirty="0" smtClean="0">
                <a:latin typeface="Eras Demi ITC" panose="020B0805030504020804" pitchFamily="34" charset="0"/>
              </a:rPr>
              <a:t> de Mercado </a:t>
            </a:r>
            <a:r>
              <a:rPr lang="en-US" sz="1400" dirty="0" err="1" smtClean="0">
                <a:latin typeface="Eras Demi ITC" panose="020B0805030504020804" pitchFamily="34" charset="0"/>
              </a:rPr>
              <a:t>Grupo</a:t>
            </a:r>
            <a:r>
              <a:rPr lang="en-US" sz="1400" dirty="0" smtClean="0">
                <a:latin typeface="Eras Demi ITC" panose="020B0805030504020804" pitchFamily="34" charset="0"/>
              </a:rPr>
              <a:t> </a:t>
            </a:r>
            <a:r>
              <a:rPr lang="en-US" sz="1400" dirty="0" err="1" smtClean="0">
                <a:latin typeface="Eras Demi ITC" panose="020B0805030504020804" pitchFamily="34" charset="0"/>
              </a:rPr>
              <a:t>Bandeirantes</a:t>
            </a:r>
            <a:endParaRPr lang="en-US" sz="1400" dirty="0">
              <a:latin typeface="Eras Demi ITC" panose="020B0805030504020804" pitchFamily="34" charset="0"/>
            </a:endParaRPr>
          </a:p>
        </p:txBody>
      </p:sp>
      <p:pic>
        <p:nvPicPr>
          <p:cNvPr id="13" name="Imagem 12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364" y="208706"/>
            <a:ext cx="1579112" cy="502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327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521437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7" indent="-391077" algn="l" defTabSz="521437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521437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2" indent="-260718" algn="l" defTabSz="521437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8" indent="-260718" algn="l" defTabSz="521437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5" indent="-260718" algn="l" defTabSz="521437" rtl="0" eaLnBrk="1" latinLnBrk="0" hangingPunct="1">
        <a:spcBef>
          <a:spcPct val="20000"/>
        </a:spcBef>
        <a:buFont typeface="Arial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chart" Target="../charts/char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chart" Target="../charts/char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oleObject" Target="../embeddings/oleObject9.bin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image" Target="../media/image1.emf"/><Relationship Id="rId2" Type="http://schemas.openxmlformats.org/officeDocument/2006/relationships/tags" Target="../tags/tag14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slideLayout" Target="../slideLayouts/slideLayout1.xml"/><Relationship Id="rId10" Type="http://schemas.openxmlformats.org/officeDocument/2006/relationships/tags" Target="../tags/tag22.xml"/><Relationship Id="rId19" Type="http://schemas.openxmlformats.org/officeDocument/2006/relationships/image" Target="../media/image11.emf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oleObject" Target="../embeddings/oleObject11.bin"/><Relationship Id="rId3" Type="http://schemas.openxmlformats.org/officeDocument/2006/relationships/tags" Target="../tags/tag28.xml"/><Relationship Id="rId21" Type="http://schemas.openxmlformats.org/officeDocument/2006/relationships/image" Target="../media/image7.png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image" Target="../media/image1.emf"/><Relationship Id="rId2" Type="http://schemas.openxmlformats.org/officeDocument/2006/relationships/tags" Target="../tags/tag27.xml"/><Relationship Id="rId16" Type="http://schemas.openxmlformats.org/officeDocument/2006/relationships/oleObject" Target="../embeddings/oleObject10.bin"/><Relationship Id="rId20" Type="http://schemas.openxmlformats.org/officeDocument/2006/relationships/image" Target="../media/image6.png"/><Relationship Id="rId1" Type="http://schemas.openxmlformats.org/officeDocument/2006/relationships/vmlDrawing" Target="../drawings/vmlDrawing9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5" Type="http://schemas.openxmlformats.org/officeDocument/2006/relationships/slideLayout" Target="../slideLayouts/slideLayout1.xml"/><Relationship Id="rId23" Type="http://schemas.openxmlformats.org/officeDocument/2006/relationships/image" Target="../media/image9.png"/><Relationship Id="rId10" Type="http://schemas.openxmlformats.org/officeDocument/2006/relationships/tags" Target="../tags/tag35.xml"/><Relationship Id="rId19" Type="http://schemas.openxmlformats.org/officeDocument/2006/relationships/image" Target="../media/image12.emf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670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430" y="3229"/>
            <a:ext cx="10728000" cy="7584219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5345113" y="1062990"/>
            <a:ext cx="53714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bg1"/>
                </a:solidFill>
                <a:latin typeface="Eras Demi ITC" panose="020B0805030504020804" pitchFamily="34" charset="0"/>
              </a:rPr>
              <a:t>Inteligência de Mercado </a:t>
            </a:r>
          </a:p>
          <a:p>
            <a:pPr algn="ctr"/>
            <a:r>
              <a:rPr lang="pt-BR" sz="2400" dirty="0" smtClean="0">
                <a:solidFill>
                  <a:schemeClr val="bg1"/>
                </a:solidFill>
                <a:latin typeface="Eras Demi ITC" panose="020B0805030504020804" pitchFamily="34" charset="0"/>
              </a:rPr>
              <a:t>Grupo Bandeirantes</a:t>
            </a:r>
            <a:endParaRPr lang="pt-BR" sz="2400" dirty="0">
              <a:solidFill>
                <a:schemeClr val="bg1"/>
              </a:solidFill>
              <a:latin typeface="Eras Demi ITC" panose="020B08050305040208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5412577" y="4658475"/>
            <a:ext cx="52365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Análise dos Investimentos e Rentabilidade em TV Aberta</a:t>
            </a:r>
            <a:endParaRPr lang="pt-BR" sz="24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6663283" y="5651097"/>
            <a:ext cx="26871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São Paulo, 26 de março de 2015</a:t>
            </a:r>
            <a:endParaRPr lang="pt-BR" sz="11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3925" y="3161741"/>
            <a:ext cx="3723463" cy="1185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074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1565505" y="2904262"/>
            <a:ext cx="755762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Análise dos Investimentos </a:t>
            </a:r>
          </a:p>
          <a:p>
            <a:pPr algn="ctr"/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em TV Aberta</a:t>
            </a:r>
          </a:p>
          <a:p>
            <a:pPr algn="ctr"/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Mondelez, base Ibope Monitor</a:t>
            </a:r>
            <a:endParaRPr lang="pt-BR" sz="36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17652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03232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6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489982" y="564507"/>
            <a:ext cx="58939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/>
              <a:t>Análise base Ibope Monitor</a:t>
            </a:r>
            <a:endParaRPr lang="pt-BR" dirty="0"/>
          </a:p>
        </p:txBody>
      </p:sp>
      <p:sp>
        <p:nvSpPr>
          <p:cNvPr id="4" name="CaixaDeTexto 3"/>
          <p:cNvSpPr txBox="1"/>
          <p:nvPr/>
        </p:nvSpPr>
        <p:spPr>
          <a:xfrm>
            <a:off x="5635494" y="1903362"/>
            <a:ext cx="4760531" cy="42934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 smtClean="0">
                <a:latin typeface="Eras Demi ITC" panose="020B0805030504020804" pitchFamily="34" charset="0"/>
              </a:rPr>
              <a:t>Para compararmos a rentabilidade da Band Vs as demais emissoras, recorremos ao Ibope Monitor, onde foram aplicados os descontos conforme tabela ao lado, TRP (AS ABC 18-24 anos) ponderado para o Mercado NET, de acordo com os critérios de conversão da secundagem / audiência, considerando ainda valores brutos.</a:t>
            </a:r>
          </a:p>
          <a:p>
            <a:pPr>
              <a:lnSpc>
                <a:spcPct val="150000"/>
              </a:lnSpc>
            </a:pPr>
            <a:endParaRPr lang="pt-BR" sz="1400" dirty="0">
              <a:latin typeface="Eras Demi ITC" panose="020B08050305040208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400" dirty="0" smtClean="0">
                <a:latin typeface="Eras Demi ITC" panose="020B0805030504020804" pitchFamily="34" charset="0"/>
              </a:rPr>
              <a:t>O desconto estimado de cada emissora está baseado no perfil de compra da Mondelez: volume de investimento, número de patrocínios aliado a uma compra que contempla todos os </a:t>
            </a:r>
            <a:r>
              <a:rPr lang="pt-BR" sz="1400" dirty="0" err="1" smtClean="0">
                <a:latin typeface="Eras Demi ITC" panose="020B0805030504020804" pitchFamily="34" charset="0"/>
              </a:rPr>
              <a:t>dayparts</a:t>
            </a:r>
            <a:r>
              <a:rPr lang="pt-BR" sz="1400" dirty="0" smtClean="0">
                <a:latin typeface="Eras Demi ITC" panose="020B0805030504020804" pitchFamily="34" charset="0"/>
              </a:rPr>
              <a:t>, ou seja, sem participação excessiva no prime time</a:t>
            </a:r>
            <a:endParaRPr lang="pt-BR" sz="1400" dirty="0">
              <a:latin typeface="Eras Demi ITC" panose="020B0805030504020804" pitchFamily="34" charset="0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747744"/>
              </p:ext>
            </p:extLst>
          </p:nvPr>
        </p:nvGraphicFramePr>
        <p:xfrm>
          <a:off x="548640" y="1992703"/>
          <a:ext cx="4304714" cy="29872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152357"/>
                <a:gridCol w="2152357"/>
              </a:tblGrid>
              <a:tr h="597452"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Eras Medium ITC" panose="020B0602030504020804" pitchFamily="34" charset="0"/>
                        </a:rPr>
                        <a:t>EMISSORAS</a:t>
                      </a:r>
                      <a:endParaRPr lang="pt-BR" sz="1400" b="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Eras Medium ITC" panose="020B0602030504020804" pitchFamily="34" charset="0"/>
                        </a:rPr>
                        <a:t>DESCONTO</a:t>
                      </a:r>
                      <a:endParaRPr lang="pt-BR" sz="1400" b="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597452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>
                          <a:latin typeface="Eras Medium ITC" panose="020B0602030504020804" pitchFamily="34" charset="0"/>
                        </a:rPr>
                        <a:t>91%</a:t>
                      </a:r>
                      <a:endParaRPr lang="pt-BR" sz="180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597452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>
                          <a:latin typeface="Eras Medium ITC" panose="020B0602030504020804" pitchFamily="34" charset="0"/>
                        </a:rPr>
                        <a:t>15%</a:t>
                      </a:r>
                      <a:endParaRPr lang="pt-BR" sz="180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597452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>
                          <a:latin typeface="Eras Medium ITC" panose="020B0602030504020804" pitchFamily="34" charset="0"/>
                        </a:rPr>
                        <a:t>85%</a:t>
                      </a:r>
                      <a:endParaRPr lang="pt-BR" sz="180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597452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>
                          <a:latin typeface="Eras Medium ITC" panose="020B0602030504020804" pitchFamily="34" charset="0"/>
                        </a:rPr>
                        <a:t>85%</a:t>
                      </a:r>
                      <a:endParaRPr lang="pt-BR" sz="180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6" name="Imagem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076" y="2567653"/>
            <a:ext cx="626881" cy="626881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4956" y="3840610"/>
            <a:ext cx="470985" cy="47098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1349" y="3224413"/>
            <a:ext cx="538199" cy="544114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979" y="4425882"/>
            <a:ext cx="500939" cy="507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803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4688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8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3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941342" y="564507"/>
            <a:ext cx="64425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/>
              <a:t>Análise de Investimento </a:t>
            </a:r>
            <a:r>
              <a:rPr lang="pt-BR" dirty="0" smtClean="0"/>
              <a:t>por Emissora</a:t>
            </a:r>
          </a:p>
        </p:txBody>
      </p:sp>
      <p:graphicFrame>
        <p:nvGraphicFramePr>
          <p:cNvPr id="32" name="Gráfico 31"/>
          <p:cNvGraphicFramePr/>
          <p:nvPr>
            <p:extLst>
              <p:ext uri="{D42A27DB-BD31-4B8C-83A1-F6EECF244321}">
                <p14:modId xmlns:p14="http://schemas.microsoft.com/office/powerpoint/2010/main" val="1032549062"/>
              </p:ext>
            </p:extLst>
          </p:nvPr>
        </p:nvGraphicFramePr>
        <p:xfrm>
          <a:off x="2132648" y="2711885"/>
          <a:ext cx="6424930" cy="3894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3" name="CaixaDeTexto 32"/>
          <p:cNvSpPr txBox="1"/>
          <p:nvPr/>
        </p:nvSpPr>
        <p:spPr>
          <a:xfrm>
            <a:off x="211454" y="1275442"/>
            <a:ext cx="102812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800" dirty="0" smtClean="0"/>
              <a:t>O budget aproximado da Mondelez em 2014 no meio TV Aberta foi de R$ 119,3 milhões e a Band TV apresentou 4% de participação dos investimentos.</a:t>
            </a:r>
            <a:endParaRPr lang="pt-BR" sz="1800" dirty="0"/>
          </a:p>
        </p:txBody>
      </p:sp>
      <p:sp>
        <p:nvSpPr>
          <p:cNvPr id="34" name="CaixaDeTexto 33"/>
          <p:cNvSpPr txBox="1"/>
          <p:nvPr/>
        </p:nvSpPr>
        <p:spPr>
          <a:xfrm>
            <a:off x="7709534" y="2379067"/>
            <a:ext cx="26161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u="sng" dirty="0" smtClean="0">
                <a:latin typeface="Eras Demi ITC" panose="020B0805030504020804" pitchFamily="34" charset="0"/>
              </a:rPr>
              <a:t>2014 (Janeiro a Dezembro)</a:t>
            </a:r>
            <a:endParaRPr lang="pt-BR" sz="1400" u="sng" dirty="0">
              <a:latin typeface="Eras Demi ITC" panose="020B0805030504020804" pitchFamily="34" charset="0"/>
            </a:endParaRPr>
          </a:p>
        </p:txBody>
      </p:sp>
      <p:sp>
        <p:nvSpPr>
          <p:cNvPr id="35" name="CaixaDeTexto 34"/>
          <p:cNvSpPr txBox="1"/>
          <p:nvPr/>
        </p:nvSpPr>
        <p:spPr>
          <a:xfrm>
            <a:off x="5949730" y="6809960"/>
            <a:ext cx="460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</a:t>
            </a:r>
            <a:r>
              <a:rPr lang="pt-BR" sz="900" dirty="0" smtClean="0"/>
              <a:t>- Valores brutos com descontos estimados:</a:t>
            </a:r>
          </a:p>
          <a:p>
            <a:r>
              <a:rPr lang="pt-BR" sz="900" dirty="0" smtClean="0"/>
              <a:t>Band TV: 91%, Globo: 15%, Record e Sbt: 85%.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1710374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5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3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067951" y="564507"/>
            <a:ext cx="63159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/>
              <a:t>Análise Share de TV Aberta, considerando investimento base Ibope Monitor e audiência AS ABC 18  a 24 anos, PNT</a:t>
            </a:r>
            <a:endParaRPr lang="pt-BR" dirty="0"/>
          </a:p>
        </p:txBody>
      </p:sp>
      <p:sp>
        <p:nvSpPr>
          <p:cNvPr id="33" name="CaixaDeTexto 32"/>
          <p:cNvSpPr txBox="1"/>
          <p:nvPr/>
        </p:nvSpPr>
        <p:spPr>
          <a:xfrm>
            <a:off x="211454" y="1860134"/>
            <a:ext cx="102812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800" dirty="0" smtClean="0"/>
              <a:t>A Band apresenta índice negativo (86) na relação Share de Investimentos vs Share de Audiência. A Globo e o Sbt apresentam share de investimento acima do que entregam de audiência.</a:t>
            </a:r>
            <a:endParaRPr lang="pt-BR" sz="1800" dirty="0"/>
          </a:p>
        </p:txBody>
      </p:sp>
      <p:graphicFrame>
        <p:nvGraphicFramePr>
          <p:cNvPr id="9" name="Gráfico 8"/>
          <p:cNvGraphicFramePr/>
          <p:nvPr>
            <p:extLst>
              <p:ext uri="{D42A27DB-BD31-4B8C-83A1-F6EECF244321}">
                <p14:modId xmlns:p14="http://schemas.microsoft.com/office/powerpoint/2010/main" val="2751344288"/>
              </p:ext>
            </p:extLst>
          </p:nvPr>
        </p:nvGraphicFramePr>
        <p:xfrm>
          <a:off x="834427" y="2783464"/>
          <a:ext cx="9021372" cy="3534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CaixaDeTexto 9"/>
          <p:cNvSpPr txBox="1"/>
          <p:nvPr/>
        </p:nvSpPr>
        <p:spPr>
          <a:xfrm>
            <a:off x="7239647" y="2783464"/>
            <a:ext cx="26161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u="sng" dirty="0" smtClean="0">
                <a:latin typeface="Eras Demi ITC" panose="020B0805030504020804" pitchFamily="34" charset="0"/>
              </a:rPr>
              <a:t>2014 (Janeiro a Dezembro)</a:t>
            </a:r>
            <a:endParaRPr lang="pt-BR" sz="1400" u="sng" dirty="0">
              <a:latin typeface="Eras Demi ITC" panose="020B0805030504020804" pitchFamily="34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5949730" y="6526230"/>
            <a:ext cx="43196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</a:t>
            </a:r>
            <a:r>
              <a:rPr lang="pt-BR" sz="900" dirty="0" smtClean="0"/>
              <a:t>Monitor - Valores brutos com descontos estimados:</a:t>
            </a:r>
          </a:p>
          <a:p>
            <a:r>
              <a:rPr lang="pt-BR" sz="900" dirty="0" smtClean="0"/>
              <a:t>Band TV: 91%, Globo: 15%, Record e Sbt: 85%.</a:t>
            </a:r>
          </a:p>
          <a:p>
            <a:r>
              <a:rPr lang="pt-BR" sz="900" dirty="0" smtClean="0"/>
              <a:t>Fonte: Ibope Media Workstation – PNT 2014 – </a:t>
            </a:r>
            <a:r>
              <a:rPr lang="pt-BR" sz="900" dirty="0"/>
              <a:t>Share de Audiência </a:t>
            </a:r>
            <a:endParaRPr lang="pt-BR" sz="900" dirty="0" smtClean="0"/>
          </a:p>
          <a:p>
            <a:r>
              <a:rPr lang="pt-BR" sz="900" dirty="0" smtClean="0"/>
              <a:t>Target: AS ABC 18  a 24 anos+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409214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6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3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graphicFrame>
        <p:nvGraphicFramePr>
          <p:cNvPr id="32" name="Gráfico 31"/>
          <p:cNvGraphicFramePr/>
          <p:nvPr>
            <p:extLst>
              <p:ext uri="{D42A27DB-BD31-4B8C-83A1-F6EECF244321}">
                <p14:modId xmlns:p14="http://schemas.microsoft.com/office/powerpoint/2010/main" val="4170394764"/>
              </p:ext>
            </p:extLst>
          </p:nvPr>
        </p:nvGraphicFramePr>
        <p:xfrm>
          <a:off x="2132648" y="2711885"/>
          <a:ext cx="6424930" cy="3894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4" name="CaixaDeTexto 33"/>
          <p:cNvSpPr txBox="1"/>
          <p:nvPr/>
        </p:nvSpPr>
        <p:spPr>
          <a:xfrm>
            <a:off x="6583459" y="2188665"/>
            <a:ext cx="36008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400" u="sng" dirty="0" smtClean="0">
                <a:latin typeface="Eras Demi ITC" panose="020B0805030504020804" pitchFamily="34" charset="0"/>
              </a:rPr>
              <a:t>2014 (Janeiro a Dezembro)</a:t>
            </a:r>
          </a:p>
          <a:p>
            <a:pPr algn="r"/>
            <a:r>
              <a:rPr lang="pt-BR" sz="1400" u="sng" dirty="0" smtClean="0">
                <a:latin typeface="Eras Demi ITC" panose="020B0805030504020804" pitchFamily="34" charset="0"/>
              </a:rPr>
              <a:t>Total TRP (AS ABC 18 a 24 anos): 8.152</a:t>
            </a:r>
            <a:endParaRPr lang="pt-BR" sz="1400" u="sng" dirty="0">
              <a:latin typeface="Eras Demi ITC" panose="020B08050305040208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2588455" y="564507"/>
            <a:ext cx="57954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/>
              <a:t>Share </a:t>
            </a:r>
            <a:r>
              <a:rPr lang="pt-BR" dirty="0" err="1" smtClean="0"/>
              <a:t>of</a:t>
            </a:r>
            <a:r>
              <a:rPr lang="pt-BR" dirty="0" smtClean="0"/>
              <a:t> </a:t>
            </a:r>
            <a:r>
              <a:rPr lang="pt-BR" dirty="0" err="1" smtClean="0"/>
              <a:t>Voice</a:t>
            </a:r>
            <a:r>
              <a:rPr lang="pt-BR" dirty="0" smtClean="0"/>
              <a:t> Emissoras de TV Aberta</a:t>
            </a:r>
            <a:endParaRPr lang="pt-BR" dirty="0"/>
          </a:p>
        </p:txBody>
      </p:sp>
      <p:sp>
        <p:nvSpPr>
          <p:cNvPr id="10" name="CaixaDeTexto 9"/>
          <p:cNvSpPr txBox="1"/>
          <p:nvPr/>
        </p:nvSpPr>
        <p:spPr>
          <a:xfrm>
            <a:off x="211454" y="1284253"/>
            <a:ext cx="102812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800" dirty="0" smtClean="0"/>
              <a:t>Considerando </a:t>
            </a:r>
            <a:r>
              <a:rPr lang="pt-BR" sz="1800" dirty="0"/>
              <a:t>o share </a:t>
            </a:r>
            <a:r>
              <a:rPr lang="pt-BR" sz="1800" dirty="0" err="1"/>
              <a:t>of</a:t>
            </a:r>
            <a:r>
              <a:rPr lang="pt-BR" sz="1800" dirty="0"/>
              <a:t> </a:t>
            </a:r>
            <a:r>
              <a:rPr lang="pt-BR" sz="1800" dirty="0" err="1"/>
              <a:t>voice</a:t>
            </a:r>
            <a:r>
              <a:rPr lang="pt-BR" sz="1800" dirty="0"/>
              <a:t> </a:t>
            </a:r>
            <a:r>
              <a:rPr lang="pt-BR" sz="1800" dirty="0" smtClean="0"/>
              <a:t>da Mondelez por emissora em 2014, a Band TV apresenta 7% de participação na entrega total de TRP, índice acima do share de investimento.</a:t>
            </a:r>
            <a:endParaRPr lang="pt-BR" sz="1800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5949730" y="6809960"/>
            <a:ext cx="460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</a:t>
            </a:r>
            <a:r>
              <a:rPr lang="pt-BR" sz="900" dirty="0" smtClean="0"/>
              <a:t>– TRP ponderado para o mercado NET, conforme </a:t>
            </a:r>
            <a:r>
              <a:rPr lang="pt-BR" sz="900" dirty="0"/>
              <a:t>critérios de conversão da </a:t>
            </a:r>
            <a:r>
              <a:rPr lang="pt-BR" sz="900" dirty="0" smtClean="0"/>
              <a:t>secundagem.</a:t>
            </a:r>
          </a:p>
        </p:txBody>
      </p:sp>
    </p:spTree>
    <p:extLst>
      <p:ext uri="{BB962C8B-B14F-4D97-AF65-F5344CB8AC3E}">
        <p14:creationId xmlns:p14="http://schemas.microsoft.com/office/powerpoint/2010/main" val="1099018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6754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565505" y="3458260"/>
            <a:ext cx="75576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Avaliação de Rentabilidade</a:t>
            </a:r>
            <a:endParaRPr lang="pt-BR" sz="36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92249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0911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6" name="Slide do think-cell" r:id="rId16" imgW="270" imgH="270" progId="TCLayout.ActiveDocument.1">
                  <p:embed/>
                </p:oleObj>
              </mc:Choice>
              <mc:Fallback>
                <p:oleObj name="Slide do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3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658794" y="564507"/>
            <a:ext cx="572511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/>
              <a:t>Avaliação de CPP / Rentabilidade de TV Aberta em 2014</a:t>
            </a:r>
            <a:endParaRPr lang="pt-BR" dirty="0"/>
          </a:p>
        </p:txBody>
      </p:sp>
      <p:graphicFrame>
        <p:nvGraphicFramePr>
          <p:cNvPr id="37" name="Objeto 3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37026312"/>
              </p:ext>
            </p:extLst>
          </p:nvPr>
        </p:nvGraphicFramePr>
        <p:xfrm>
          <a:off x="1104900" y="2857500"/>
          <a:ext cx="8448609" cy="34767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7" name="Gráfico" r:id="rId18" imgW="8448609" imgH="3476745" progId="MSGraph.Chart.8">
                  <p:embed followColorScheme="full"/>
                </p:oleObj>
              </mc:Choice>
              <mc:Fallback>
                <p:oleObj name="Gráfico" r:id="rId18" imgW="8448609" imgH="347674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04900" y="2857500"/>
                        <a:ext cx="8448609" cy="34767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ector reto 3"/>
          <p:cNvCxnSpPr/>
          <p:nvPr>
            <p:custDataLst>
              <p:tags r:id="rId5"/>
            </p:custDataLst>
          </p:nvPr>
        </p:nvCxnSpPr>
        <p:spPr bwMode="auto">
          <a:xfrm flipH="1">
            <a:off x="2043113" y="2954338"/>
            <a:ext cx="65817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to 5"/>
          <p:cNvCxnSpPr/>
          <p:nvPr>
            <p:custDataLst>
              <p:tags r:id="rId6"/>
            </p:custDataLst>
          </p:nvPr>
        </p:nvCxnSpPr>
        <p:spPr bwMode="auto">
          <a:xfrm>
            <a:off x="2043113" y="2954338"/>
            <a:ext cx="0" cy="17907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" name="Conector reto 1"/>
          <p:cNvCxnSpPr/>
          <p:nvPr>
            <p:custDataLst>
              <p:tags r:id="rId7"/>
            </p:custDataLst>
          </p:nvPr>
        </p:nvCxnSpPr>
        <p:spPr bwMode="auto">
          <a:xfrm flipV="1">
            <a:off x="8624888" y="2954338"/>
            <a:ext cx="0" cy="8382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>
            <p:custDataLst>
              <p:tags r:id="rId8"/>
            </p:custDataLst>
          </p:nvPr>
        </p:nvCxnSpPr>
        <p:spPr bwMode="gray">
          <a:xfrm>
            <a:off x="1219200" y="4038600"/>
            <a:ext cx="8229600" cy="0"/>
          </a:xfrm>
          <a:prstGeom prst="line">
            <a:avLst/>
          </a:prstGeom>
          <a:ln w="28575">
            <a:solidFill>
              <a:srgbClr val="C30C3E"/>
            </a:solidFill>
            <a:prstDash val="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Espaço Reservado para Texto 50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033963" y="6378575"/>
            <a:ext cx="600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8E7C92-773E-44C4-81E6-5054D8671F35}" type="datetime'''''''''''''''''R''''''''E''''C''''''O''''''''''RD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RECORD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1" name="Espaço Reservado para Texto 51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848475" y="6378575"/>
            <a:ext cx="2571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3A16E1-5297-48F9-8B68-6A3FA10B9B2D}" type="datetime'''''''S''''''''''''''''''''''B''''''''''''T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SBT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09" name="Espaço Reservado para Texto 31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129588" y="6378575"/>
            <a:ext cx="990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BF1B73-6D97-49CA-90F2-C4BAC53F8E36}" type="datetime'''MÉD''''IA'''''' ''''''''''''''G''E''RA''''L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MÉDIA GERAL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4" name="Espaço Reservado para Texto 81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078413" y="2828925"/>
            <a:ext cx="511175" cy="252413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C13F745F-BF47-42D0-A477-1F7467D52FAB}" type="datetime'''''''''''''''''''''-''4''''3''''''''%'''''''''''''''''''">
              <a:rPr lang="en-US" sz="13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43%</a:t>
            </a:fld>
            <a:endParaRPr lang="pt-BR" sz="13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0" name="Espaço Reservado para Texto 49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422650" y="6378575"/>
            <a:ext cx="5381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190478-C0F9-4194-9EA4-2983338CF2B0}" type="datetime'G''''''''''''''''''''''''L''''''''''''''''O''''B''''''O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GLOBO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2" name="Espaço Reservado para Texto 48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712913" y="6378575"/>
            <a:ext cx="6604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61B739-0274-424A-ABA9-CD059A51F300}" type="datetime'''B''''''''''''A''''''''''''''''''''''''N''''''''D ''TV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BAND TV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1104900" y="2481796"/>
            <a:ext cx="28201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u="sng" dirty="0" smtClean="0">
                <a:latin typeface="Eras Demi ITC" panose="020B0805030504020804" pitchFamily="34" charset="0"/>
              </a:rPr>
              <a:t>CPP R$ AS ABC 18 a 24 anos</a:t>
            </a:r>
            <a:endParaRPr lang="pt-BR" sz="1400" u="sng" dirty="0">
              <a:latin typeface="Eras Demi ITC" panose="020B0805030504020804" pitchFamily="34" charset="0"/>
            </a:endParaRPr>
          </a:p>
        </p:txBody>
      </p:sp>
      <p:sp>
        <p:nvSpPr>
          <p:cNvPr id="84" name="CaixaDeTexto 83"/>
          <p:cNvSpPr txBox="1"/>
          <p:nvPr/>
        </p:nvSpPr>
        <p:spPr>
          <a:xfrm>
            <a:off x="6000750" y="6680978"/>
            <a:ext cx="460529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- Valores brutos com descontos estimados:</a:t>
            </a:r>
          </a:p>
          <a:p>
            <a:r>
              <a:rPr lang="pt-BR" sz="900" dirty="0"/>
              <a:t>Band TV: 89%, Globo: </a:t>
            </a:r>
            <a:r>
              <a:rPr lang="pt-BR" sz="900" dirty="0" smtClean="0"/>
              <a:t>15</a:t>
            </a:r>
            <a:r>
              <a:rPr lang="pt-BR" sz="900" dirty="0"/>
              <a:t>%, </a:t>
            </a:r>
            <a:r>
              <a:rPr lang="pt-BR" sz="900" dirty="0" smtClean="0"/>
              <a:t>Record e Sbt: </a:t>
            </a:r>
            <a:r>
              <a:rPr lang="pt-BR" sz="900" dirty="0"/>
              <a:t>90%.</a:t>
            </a:r>
          </a:p>
          <a:p>
            <a:r>
              <a:rPr lang="pt-BR" sz="900" dirty="0" smtClean="0"/>
              <a:t>TRP </a:t>
            </a:r>
            <a:r>
              <a:rPr lang="pt-BR" sz="900" dirty="0"/>
              <a:t>Ponderado NET conforme critérios de conversão da </a:t>
            </a:r>
            <a:r>
              <a:rPr lang="pt-BR" sz="900" dirty="0" smtClean="0"/>
              <a:t>secundagem.</a:t>
            </a:r>
            <a:endParaRPr lang="pt-BR" sz="900" dirty="0"/>
          </a:p>
        </p:txBody>
      </p:sp>
      <p:sp>
        <p:nvSpPr>
          <p:cNvPr id="39" name="CaixaDeTexto 38"/>
          <p:cNvSpPr txBox="1"/>
          <p:nvPr/>
        </p:nvSpPr>
        <p:spPr>
          <a:xfrm>
            <a:off x="211454" y="1330321"/>
            <a:ext cx="102812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800" dirty="0" smtClean="0"/>
              <a:t>O CPP da Band ficou 43% menor em relação a média geral considerando todas as emissoras e foi a emissora mais rentável na programação da Mondelez.</a:t>
            </a: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1574797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1163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0" name="Slide do think-cell" r:id="rId16" imgW="270" imgH="270" progId="TCLayout.ActiveDocument.1">
                  <p:embed/>
                </p:oleObj>
              </mc:Choice>
              <mc:Fallback>
                <p:oleObj name="Slide do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3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graphicFrame>
        <p:nvGraphicFramePr>
          <p:cNvPr id="37" name="Objeto 3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74329430"/>
              </p:ext>
            </p:extLst>
          </p:nvPr>
        </p:nvGraphicFramePr>
        <p:xfrm>
          <a:off x="266700" y="2857500"/>
          <a:ext cx="5838821" cy="34767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1" name="Gráfico" r:id="rId18" imgW="5838821" imgH="3476745" progId="MSGraph.Chart.8">
                  <p:embed followColorScheme="full"/>
                </p:oleObj>
              </mc:Choice>
              <mc:Fallback>
                <p:oleObj name="Gráfico" r:id="rId18" imgW="5838821" imgH="347674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66700" y="2857500"/>
                        <a:ext cx="5838821" cy="34767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ector reto 3"/>
          <p:cNvCxnSpPr/>
          <p:nvPr>
            <p:custDataLst>
              <p:tags r:id="rId5"/>
            </p:custDataLst>
          </p:nvPr>
        </p:nvCxnSpPr>
        <p:spPr bwMode="auto">
          <a:xfrm flipH="1">
            <a:off x="942975" y="2954338"/>
            <a:ext cx="450532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to 5"/>
          <p:cNvCxnSpPr/>
          <p:nvPr>
            <p:custDataLst>
              <p:tags r:id="rId6"/>
            </p:custDataLst>
          </p:nvPr>
        </p:nvCxnSpPr>
        <p:spPr bwMode="auto">
          <a:xfrm>
            <a:off x="942975" y="2954338"/>
            <a:ext cx="0" cy="15144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" name="Conector reto 1"/>
          <p:cNvCxnSpPr/>
          <p:nvPr>
            <p:custDataLst>
              <p:tags r:id="rId7"/>
            </p:custDataLst>
          </p:nvPr>
        </p:nvCxnSpPr>
        <p:spPr bwMode="auto">
          <a:xfrm flipV="1">
            <a:off x="5448300" y="2954339"/>
            <a:ext cx="0" cy="69532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>
            <p:custDataLst>
              <p:tags r:id="rId8"/>
            </p:custDataLst>
          </p:nvPr>
        </p:nvCxnSpPr>
        <p:spPr bwMode="gray">
          <a:xfrm>
            <a:off x="381001" y="3895725"/>
            <a:ext cx="5629275" cy="0"/>
          </a:xfrm>
          <a:prstGeom prst="line">
            <a:avLst/>
          </a:prstGeom>
          <a:ln w="28575">
            <a:solidFill>
              <a:srgbClr val="C30C3E"/>
            </a:solidFill>
            <a:prstDash val="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Espaço Reservado para Texto 50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895600" y="6378575"/>
            <a:ext cx="600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8E7C92-773E-44C4-81E6-5054D8671F35}" type="datetime'''''''''''''''''R''''''''E''''C''''''O''''''''''RD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RECORD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1" name="Espaço Reservado para Texto 51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195763" y="6378575"/>
            <a:ext cx="2571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3A16E1-5297-48F9-8B68-6A3FA10B9B2D}" type="datetime'''''''S''''''''''''''''''''''B''''''''''''T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SBT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09" name="Espaço Reservado para Texto 31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953000" y="6378575"/>
            <a:ext cx="990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BF1B73-6D97-49CA-90F2-C4BAC53F8E36}" type="datetime'''MÉD''''IA'''''' ''''''''''''''G''E''RA''''L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MÉDIA GERAL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4" name="Espaço Reservado para Texto 81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940050" y="2828925"/>
            <a:ext cx="511175" cy="252413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936B53A0-EF15-476E-8F94-38AA38C389F9}" type="datetime'''''-''''''''''''3''''''''''5''''%'''''''''">
              <a:rPr lang="en-US" sz="13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35%</a:t>
            </a:fld>
            <a:endParaRPr lang="pt-BR" sz="13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0" name="Espaço Reservado para Texto 49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798638" y="6378575"/>
            <a:ext cx="5381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190478-C0F9-4194-9EA4-2983338CF2B0}" type="datetime'G''''''''''''''''''''''''L''''''''''''''''O''''B''''''O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GLOBO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2" name="Espaço Reservado para Texto 48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12775" y="6378575"/>
            <a:ext cx="6604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61B739-0274-424A-ABA9-CD059A51F300}" type="datetime'''B''''''''''''A''''''''''''''''''''''''N''''''''D ''TV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BAND TV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381000" y="2447925"/>
            <a:ext cx="28201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u="sng" dirty="0" smtClean="0">
                <a:latin typeface="Eras Demi ITC" panose="020B0805030504020804" pitchFamily="34" charset="0"/>
              </a:rPr>
              <a:t>CPP R$ AS ABC 18 a 24 anos</a:t>
            </a:r>
            <a:endParaRPr lang="pt-BR" sz="1400" u="sng" dirty="0">
              <a:latin typeface="Eras Demi ITC" panose="020B0805030504020804" pitchFamily="34" charset="0"/>
            </a:endParaRPr>
          </a:p>
        </p:txBody>
      </p:sp>
      <p:sp>
        <p:nvSpPr>
          <p:cNvPr id="39" name="CaixaDeTexto 38"/>
          <p:cNvSpPr txBox="1"/>
          <p:nvPr/>
        </p:nvSpPr>
        <p:spPr>
          <a:xfrm>
            <a:off x="211454" y="1106557"/>
            <a:ext cx="102812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800" dirty="0" smtClean="0"/>
              <a:t>Considerando o mesmo perfil </a:t>
            </a:r>
            <a:r>
              <a:rPr lang="pt-BR" sz="1800" dirty="0"/>
              <a:t>de compra </a:t>
            </a:r>
            <a:r>
              <a:rPr lang="pt-BR" sz="1800" dirty="0" smtClean="0"/>
              <a:t>de 2014 e aplicando os reajustes de tabela das emissoras de Abril/2015, é possível reduzir o desconto com a Band para 89% e manter a rentabilidade (apenas o Sbt apresenta CPP menor em relação a Band, mas com uma verba 427% superior).</a:t>
            </a:r>
            <a:endParaRPr lang="pt-BR" sz="1800" dirty="0"/>
          </a:p>
        </p:txBody>
      </p:sp>
      <p:graphicFrame>
        <p:nvGraphicFramePr>
          <p:cNvPr id="19" name="Tabe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050485"/>
              </p:ext>
            </p:extLst>
          </p:nvPr>
        </p:nvGraphicFramePr>
        <p:xfrm>
          <a:off x="6494237" y="2879045"/>
          <a:ext cx="3869616" cy="29872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934808"/>
                <a:gridCol w="1934808"/>
              </a:tblGrid>
              <a:tr h="597452"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Eras Medium ITC" panose="020B0602030504020804" pitchFamily="34" charset="0"/>
                        </a:rPr>
                        <a:t>EMISSORAS</a:t>
                      </a:r>
                      <a:endParaRPr lang="pt-BR" sz="1400" b="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Eras Medium ITC" panose="020B0602030504020804" pitchFamily="34" charset="0"/>
                        </a:rPr>
                        <a:t>REAJUSTE</a:t>
                      </a:r>
                      <a:r>
                        <a:rPr lang="pt-BR" sz="1400" b="0" baseline="0" dirty="0" smtClean="0">
                          <a:latin typeface="Eras Medium ITC" panose="020B0602030504020804" pitchFamily="34" charset="0"/>
                        </a:rPr>
                        <a:t> TABELA ABRIL/15</a:t>
                      </a:r>
                      <a:endParaRPr lang="pt-BR" sz="1400" b="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597452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dirty="0" smtClean="0">
                          <a:latin typeface="Eras Medium ITC" panose="020B0602030504020804" pitchFamily="34" charset="0"/>
                        </a:rPr>
                        <a:t>3,5%</a:t>
                      </a:r>
                      <a:endParaRPr lang="pt-BR" sz="1800" b="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597452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dirty="0" smtClean="0">
                          <a:latin typeface="Eras Medium ITC" panose="020B0602030504020804" pitchFamily="34" charset="0"/>
                        </a:rPr>
                        <a:t>4,4%</a:t>
                      </a:r>
                      <a:endParaRPr lang="pt-BR" sz="1800" b="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597452"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dirty="0" smtClean="0">
                          <a:latin typeface="Eras Medium ITC" panose="020B0602030504020804" pitchFamily="34" charset="0"/>
                        </a:rPr>
                        <a:t>4,0%</a:t>
                      </a:r>
                      <a:endParaRPr lang="pt-BR" sz="1800" b="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597452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dirty="0" smtClean="0">
                          <a:latin typeface="Eras Medium ITC" panose="020B0602030504020804" pitchFamily="34" charset="0"/>
                        </a:rPr>
                        <a:t>7,6%</a:t>
                      </a:r>
                      <a:endParaRPr lang="pt-BR" sz="1800" b="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4" name="Imagem 23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2944" y="3452585"/>
            <a:ext cx="626881" cy="626881"/>
          </a:xfrm>
          <a:prstGeom prst="rect">
            <a:avLst/>
          </a:prstGeom>
        </p:spPr>
      </p:pic>
      <p:pic>
        <p:nvPicPr>
          <p:cNvPr id="25" name="Imagem 24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0892" y="4718957"/>
            <a:ext cx="470985" cy="470985"/>
          </a:xfrm>
          <a:prstGeom prst="rect">
            <a:avLst/>
          </a:prstGeom>
        </p:spPr>
      </p:pic>
      <p:pic>
        <p:nvPicPr>
          <p:cNvPr id="26" name="Imagem 25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7285" y="4103007"/>
            <a:ext cx="538199" cy="544114"/>
          </a:xfrm>
          <a:prstGeom prst="rect">
            <a:avLst/>
          </a:prstGeom>
        </p:spPr>
      </p:pic>
      <p:pic>
        <p:nvPicPr>
          <p:cNvPr id="27" name="Imagem 26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5915" y="5304745"/>
            <a:ext cx="500939" cy="507445"/>
          </a:xfrm>
          <a:prstGeom prst="rect">
            <a:avLst/>
          </a:prstGeom>
        </p:spPr>
      </p:pic>
      <p:sp>
        <p:nvSpPr>
          <p:cNvPr id="29" name="CaixaDeTexto 28"/>
          <p:cNvSpPr txBox="1"/>
          <p:nvPr/>
        </p:nvSpPr>
        <p:spPr>
          <a:xfrm>
            <a:off x="3037113" y="564507"/>
            <a:ext cx="5346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/>
              <a:t>Rentabilidade projetada para 2015</a:t>
            </a:r>
            <a:endParaRPr lang="pt-BR" dirty="0"/>
          </a:p>
        </p:txBody>
      </p:sp>
      <p:sp>
        <p:nvSpPr>
          <p:cNvPr id="30" name="CaixaDeTexto 29"/>
          <p:cNvSpPr txBox="1"/>
          <p:nvPr/>
        </p:nvSpPr>
        <p:spPr>
          <a:xfrm>
            <a:off x="6529243" y="5926993"/>
            <a:ext cx="38667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 smtClean="0"/>
              <a:t>(*) Record </a:t>
            </a:r>
            <a:r>
              <a:rPr lang="pt-BR" sz="900" dirty="0"/>
              <a:t>ainda não </a:t>
            </a:r>
            <a:r>
              <a:rPr lang="pt-BR" sz="900" dirty="0" smtClean="0"/>
              <a:t>liberou a </a:t>
            </a:r>
            <a:r>
              <a:rPr lang="pt-BR" sz="900" dirty="0"/>
              <a:t>tabela para o mercado, com isso, o </a:t>
            </a:r>
            <a:r>
              <a:rPr lang="pt-BR" sz="900" dirty="0" smtClean="0"/>
              <a:t>reajuste </a:t>
            </a:r>
            <a:r>
              <a:rPr lang="pt-BR" sz="900" dirty="0"/>
              <a:t>foi </a:t>
            </a:r>
            <a:r>
              <a:rPr lang="pt-BR" sz="900" dirty="0" smtClean="0"/>
              <a:t>estimado </a:t>
            </a:r>
            <a:r>
              <a:rPr lang="pt-BR" sz="900" dirty="0"/>
              <a:t>em 4% para Abril/2015.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6000750" y="6680978"/>
            <a:ext cx="460529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- Valores brutos com descontos estimados:</a:t>
            </a:r>
          </a:p>
          <a:p>
            <a:r>
              <a:rPr lang="pt-BR" sz="900" dirty="0"/>
              <a:t>Band TV: 89%, Globo: </a:t>
            </a:r>
            <a:r>
              <a:rPr lang="pt-BR" sz="900" dirty="0" smtClean="0"/>
              <a:t>15</a:t>
            </a:r>
            <a:r>
              <a:rPr lang="pt-BR" sz="900" dirty="0"/>
              <a:t>%, </a:t>
            </a:r>
            <a:r>
              <a:rPr lang="pt-BR" sz="900" dirty="0" smtClean="0"/>
              <a:t>Record e Sbt: </a:t>
            </a:r>
            <a:r>
              <a:rPr lang="pt-BR" sz="900" dirty="0"/>
              <a:t>85</a:t>
            </a:r>
            <a:r>
              <a:rPr lang="pt-BR" sz="900" dirty="0" smtClean="0"/>
              <a:t>%</a:t>
            </a:r>
            <a:endParaRPr lang="pt-BR" sz="900" dirty="0"/>
          </a:p>
          <a:p>
            <a:r>
              <a:rPr lang="pt-BR" sz="900" dirty="0" smtClean="0"/>
              <a:t>TRP </a:t>
            </a:r>
            <a:r>
              <a:rPr lang="pt-BR" sz="900" dirty="0"/>
              <a:t>Ponderado NET conforme critérios de conversão da </a:t>
            </a:r>
            <a:r>
              <a:rPr lang="pt-BR" sz="900" dirty="0" smtClean="0"/>
              <a:t>secundagem.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1131525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3&quot;&gt;&lt;elem m_fUsage=&quot;3.43488690000000000000E+000&quot;&gt;&lt;m_msothmcolidx val=&quot;0&quot;/&gt;&lt;m_rgb r=&quot;0&quot; g=&quot;80&quot; b=&quot;0&quot;/&gt;&lt;m_ppcolschidx tagver0=&quot;23004&quot; tagname0=&quot;m_ppcolschidxUNRECOGNIZED&quot; val=&quot;0&quot;/&gt;&lt;m_nBrightness val=&quot;0&quot;/&gt;&lt;/elem&gt;&lt;elem m_fUsage=&quot;1.72900000000000010000E+000&quot;&gt;&lt;m_msothmcolidx val=&quot;0&quot;/&gt;&lt;m_rgb r=&quot;4&quot; g=&quot;62&quot; b=&quot;12&quot;/&gt;&lt;m_ppcolschidx tagver0=&quot;23004&quot; tagname0=&quot;m_ppcolschidxUNRECOGNIZED&quot; val=&quot;0&quot;/&gt;&lt;m_nBrightness val=&quot;0&quot;/&gt;&lt;/elem&gt;&lt;elem m_fUsage=&quot;5.31441000000000160000E-001&quot;&gt;&lt;m_msothmcolidx val=&quot;0&quot;/&gt;&lt;m_rgb r=&quot;56&quot; g=&quot;20&quot; b=&quot;1f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CeoJ1uuEGGYWqUA1268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a0Lu2qeUGq6.4s.Nfb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Eb93szuUCYyT09nkh7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I1KbkS02Cn__e3MZa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_BLbCI0KFtSmfVkjM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e7XDBRx0qpr.ouDLzu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aEsDgm1UG4Gg24.yVI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3WNOa_4k2q9G93c6tVP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qQviTEJk.qa14MifDrC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U3dZa_Q0.Z9aD8ILHX4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pyBAX1M06Ib39elKHQM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3CfbzPQU6oqdIbY2qar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a0Lu2qeUGq6.4s.Nfb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Eb93szuUCYyT09nkh7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I1KbkS02Cn__e3MZaB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_BLbCI0KFtSmfVkjMA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e7XDBRx0qpr.ouDLzu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aEsDgm1UG4Gg24.yVI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3WNOa_4k2q9G93c6tV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qQviTEJk.qa14MifDrC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U3dZa_Q0.Z9aD8ILHX4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pyBAX1M06Ib39elKHQM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3CfbzPQU6oqdIbY2qa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heme/theme1.xml><?xml version="1.0" encoding="utf-8"?>
<a:theme xmlns:a="http://schemas.openxmlformats.org/drawingml/2006/main" name="Office Theme">
  <a:themeElements>
    <a:clrScheme name="Concurso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39</TotalTime>
  <Words>641</Words>
  <Application>Microsoft Office PowerPoint</Application>
  <PresentationFormat>Personalizar</PresentationFormat>
  <Paragraphs>77</Paragraphs>
  <Slides>9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9</vt:i4>
      </vt:variant>
    </vt:vector>
  </HeadingPairs>
  <TitlesOfParts>
    <vt:vector size="17" baseType="lpstr">
      <vt:lpstr>MS PGothic</vt:lpstr>
      <vt:lpstr>Arial</vt:lpstr>
      <vt:lpstr>Calibri</vt:lpstr>
      <vt:lpstr>Eras Demi ITC</vt:lpstr>
      <vt:lpstr>Eras Medium ITC</vt:lpstr>
      <vt:lpstr>Office Theme</vt:lpstr>
      <vt:lpstr>Slide do think-cell</vt:lpstr>
      <vt:lpstr>Gráfic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ássio Soares</dc:creator>
  <cp:lastModifiedBy>Filipe Rodrigues Pereira</cp:lastModifiedBy>
  <cp:revision>190</cp:revision>
  <dcterms:created xsi:type="dcterms:W3CDTF">2014-04-01T20:14:56Z</dcterms:created>
  <dcterms:modified xsi:type="dcterms:W3CDTF">2015-03-27T15:11:50Z</dcterms:modified>
</cp:coreProperties>
</file>